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832" r:id="rId5"/>
    <p:sldId id="833" r:id="rId6"/>
  </p:sldIdLst>
  <p:sldSz cx="15544800" cy="100584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culino" id="{618B169C-229D-4AE1-8FCE-2C1E8FD919F0}">
          <p14:sldIdLst>
            <p14:sldId id="832"/>
          </p14:sldIdLst>
        </p14:section>
        <p14:section name="Femenino" id="{703C3058-ADFE-45C0-A555-BD19F9540461}">
          <p14:sldIdLst>
            <p14:sldId id="833"/>
          </p14:sldIdLst>
        </p14:section>
      </p14:sectionLst>
    </p:ext>
    <p:ext uri="{EFAFB233-063F-42B5-8137-9DF3F51BA10A}">
      <p15:sldGuideLst xmlns:p15="http://schemas.microsoft.com/office/powerpoint/2012/main">
        <p15:guide id="2" pos="4896" userDrawn="1">
          <p15:clr>
            <a:srgbClr val="A4A3A4"/>
          </p15:clr>
        </p15:guide>
        <p15:guide id="3" orient="horz" pos="31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CFD5"/>
    <a:srgbClr val="002366"/>
    <a:srgbClr val="191919"/>
    <a:srgbClr val="C1F50E"/>
    <a:srgbClr val="0D64EF"/>
    <a:srgbClr val="0744AB"/>
    <a:srgbClr val="0A3E97"/>
    <a:srgbClr val="F3F3F3"/>
    <a:srgbClr val="0D1203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7774" autoAdjust="0"/>
  </p:normalViewPr>
  <p:slideViewPr>
    <p:cSldViewPr snapToGrid="0" snapToObjects="1">
      <p:cViewPr varScale="1">
        <p:scale>
          <a:sx n="96" d="100"/>
          <a:sy n="96" d="100"/>
        </p:scale>
        <p:origin x="4014" y="90"/>
      </p:cViewPr>
      <p:guideLst>
        <p:guide pos="4896"/>
        <p:guide orient="horz" pos="3168"/>
      </p:guideLst>
    </p:cSldViewPr>
  </p:slideViewPr>
  <p:outlineViewPr>
    <p:cViewPr>
      <p:scale>
        <a:sx n="33" d="100"/>
        <a:sy n="33" d="100"/>
      </p:scale>
      <p:origin x="0" y="-1167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121" d="100"/>
          <a:sy n="121" d="100"/>
        </p:scale>
        <p:origin x="766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64CD73-4A79-DD4A-9A9F-3E82B06A72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F7155A-AC4D-DA44-BE36-FFF3EF26ACE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E8847-1E53-7344-AF6E-A604CD46E58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B8D0DA-2686-AE40-9786-88D6391DD20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A44830-224C-4E1C-B74D-323A7B650FF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D2F3D1-5D33-4E93-AEFB-8A96A2566DAC}" type="datetimeFigureOut">
              <a:rPr lang="en-US" smtClean="0"/>
              <a:t>6/25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923171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4BA07-456C-9345-947A-A8F52B4DC3AE}" type="datetimeFigureOut">
              <a:rPr lang="en-US" smtClean="0"/>
              <a:t>6/25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44575" y="1143000"/>
            <a:ext cx="47688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7C5EF6-221F-AB4A-895C-6F4F3F278B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369800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4575" y="1143000"/>
            <a:ext cx="4768850" cy="30861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ÓMO USAR ESTA PLANTILLA: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dirty="0"/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dita tu diapositiva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Reemplaza el área de texto de ejemplo con tu nombre y apellido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 a Archivo → Guardar como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Elige dónde quieres guardar tu archivo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bia el tipo de archivo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En el menú desplegable "Guardar como tipo", selecciona: Formato de intercambio de archivos JPEG (*.</a:t>
            </a:r>
            <a:r>
              <a:rPr lang="es-MX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pg</a:t>
            </a: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z clic en Guardar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PowerPoint te preguntará: "¿Todas las diapositivas?" 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"¿Solo esta?". Elige Solo esta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¡Listo!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Tu archivo JPG se guardará en la carpeta que elegiste, listo para compartir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1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BF8D6C0F-465A-80DD-6D01-E74EC399B8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HEADER CONTENT</a:t>
            </a:r>
          </a:p>
        </p:txBody>
      </p:sp>
    </p:spTree>
    <p:extLst>
      <p:ext uri="{BB962C8B-B14F-4D97-AF65-F5344CB8AC3E}">
        <p14:creationId xmlns:p14="http://schemas.microsoft.com/office/powerpoint/2010/main" val="88277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02E606-94BA-1CD1-7A13-1C1C9C1662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5C3B70-5570-3EEA-F5D8-18B3EDC5F5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044575" y="1143000"/>
            <a:ext cx="4768850" cy="30861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458D8F-C891-4BE7-F338-A0BFE4CC64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ÓMO USAR ESTA PLANTILLA: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dirty="0"/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dita tu diapositiva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Reemplaza el área de texto de ejemplo con tu nombre y apellido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 a Archivo → Guardar como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Elige dónde quieres guardar tu archivo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bia el tipo de archivo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En el menú desplegable "Guardar como tipo", selecciona: Formato de intercambio de archivos JPEG (*.</a:t>
            </a:r>
            <a:r>
              <a:rPr lang="es-MX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pg</a:t>
            </a: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z clic en Guardar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PowerPoint te preguntará: "¿Todas las diapositivas?" 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"¿Solo esta?". Elige Solo esta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¡Listo!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Tu archivo JPG se guardará en la carpeta que elegiste, listo para compartir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A92C11-185A-31CB-7381-711B543C4C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2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4F96C0C4-9EA5-6627-8D3F-0D874A209470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HEADER CONTENT</a:t>
            </a:r>
          </a:p>
        </p:txBody>
      </p:sp>
    </p:spTree>
    <p:extLst>
      <p:ext uri="{BB962C8B-B14F-4D97-AF65-F5344CB8AC3E}">
        <p14:creationId xmlns:p14="http://schemas.microsoft.com/office/powerpoint/2010/main" val="2482296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culi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A201C02-11D9-094F-E646-37934321CC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182" y="805"/>
            <a:ext cx="15538435" cy="10056787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2025" y="2329"/>
          <a:ext cx="2025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25" y="2329"/>
                        <a:ext cx="2025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C44F38C-B44B-A1CB-4BEA-26FCAE3ED2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57400" y="5268913"/>
            <a:ext cx="11430000" cy="992187"/>
          </a:xfrm>
        </p:spPr>
        <p:txBody>
          <a:bodyPr anchor="ctr">
            <a:noAutofit/>
          </a:bodyPr>
          <a:lstStyle>
            <a:lvl1pPr algn="ctr">
              <a:buFont typeface="Arial" panose="020B0604020202020204" pitchFamily="34" charset="0"/>
              <a:buNone/>
              <a:defRPr sz="4800" i="1"/>
            </a:lvl1pPr>
            <a:lvl2pPr>
              <a:buFont typeface="Arial" panose="020B0604020202020204" pitchFamily="34" charset="0"/>
              <a:buNone/>
              <a:defRPr sz="3200" i="1"/>
            </a:lvl2pPr>
            <a:lvl3pPr>
              <a:buNone/>
              <a:defRPr sz="3200" i="1"/>
            </a:lvl3pPr>
            <a:lvl4pPr>
              <a:buNone/>
              <a:defRPr sz="3200" i="1"/>
            </a:lvl4pPr>
            <a:lvl5pPr>
              <a:buNone/>
              <a:defRPr sz="3200" i="1"/>
            </a:lvl5pPr>
          </a:lstStyle>
          <a:p>
            <a:pPr lvl="0"/>
            <a:r>
              <a:rPr lang="en-US" dirty="0"/>
              <a:t>TU NOMB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159325-065C-4F73-924A-3EFB7322F4AE}"/>
              </a:ext>
            </a:extLst>
          </p:cNvPr>
          <p:cNvGrpSpPr/>
          <p:nvPr userDrawn="1"/>
        </p:nvGrpSpPr>
        <p:grpSpPr>
          <a:xfrm>
            <a:off x="-4649188" y="4658"/>
            <a:ext cx="4407247" cy="5527117"/>
            <a:chOff x="10477007" y="683441"/>
            <a:chExt cx="4407247" cy="552711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BFC76F9-2215-ED55-AF0F-6EF92A48B79D}"/>
                </a:ext>
              </a:extLst>
            </p:cNvPr>
            <p:cNvSpPr txBox="1"/>
            <p:nvPr userDrawn="1"/>
          </p:nvSpPr>
          <p:spPr>
            <a:xfrm>
              <a:off x="10477007" y="683441"/>
              <a:ext cx="336053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CÓMO USAR ESTA PLANTILLA: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7B68B8D-776A-0247-A6DE-7CF050B498CA}"/>
                </a:ext>
              </a:extLst>
            </p:cNvPr>
            <p:cNvSpPr txBox="1"/>
            <p:nvPr userDrawn="1"/>
          </p:nvSpPr>
          <p:spPr>
            <a:xfrm>
              <a:off x="10895961" y="1193800"/>
              <a:ext cx="3988293" cy="50167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sz="1600" b="1" dirty="0">
                  <a:solidFill>
                    <a:schemeClr val="tx2"/>
                  </a:solidFill>
                </a:rPr>
                <a:t>Edita </a:t>
              </a:r>
              <a:r>
                <a:rPr lang="en-US" sz="1600" b="1" dirty="0" err="1">
                  <a:solidFill>
                    <a:schemeClr val="tx2"/>
                  </a:solidFill>
                </a:rPr>
                <a:t>tu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diapositiva</a:t>
              </a:r>
              <a:r>
                <a:rPr lang="en-US" sz="1600" b="1" dirty="0">
                  <a:solidFill>
                    <a:schemeClr val="tx2"/>
                  </a:solidFill>
                </a:rPr>
                <a:t>: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 err="1">
                  <a:solidFill>
                    <a:schemeClr val="tx2"/>
                  </a:solidFill>
                </a:rPr>
                <a:t>Reemplaza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l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área</a:t>
              </a:r>
              <a:r>
                <a:rPr lang="en-US" sz="1600" b="0" dirty="0">
                  <a:solidFill>
                    <a:schemeClr val="tx2"/>
                  </a:solidFill>
                </a:rPr>
                <a:t> de </a:t>
              </a:r>
              <a:r>
                <a:rPr lang="en-US" sz="1600" b="0" dirty="0" err="1">
                  <a:solidFill>
                    <a:schemeClr val="tx2"/>
                  </a:solidFill>
                </a:rPr>
                <a:t>texto</a:t>
              </a:r>
              <a:r>
                <a:rPr lang="en-US" sz="1600" b="0" dirty="0">
                  <a:solidFill>
                    <a:schemeClr val="tx2"/>
                  </a:solidFill>
                </a:rPr>
                <a:t> de </a:t>
              </a:r>
              <a:r>
                <a:rPr lang="en-US" sz="1600" b="0" dirty="0" err="1">
                  <a:solidFill>
                    <a:schemeClr val="tx2"/>
                  </a:solidFill>
                </a:rPr>
                <a:t>ejemplo</a:t>
              </a:r>
              <a:r>
                <a:rPr lang="en-US" sz="1600" b="0" dirty="0">
                  <a:solidFill>
                    <a:schemeClr val="tx2"/>
                  </a:solidFill>
                </a:rPr>
                <a:t> con </a:t>
              </a:r>
              <a:r>
                <a:rPr lang="en-US" sz="1600" b="0" dirty="0" err="1">
                  <a:solidFill>
                    <a:schemeClr val="tx2"/>
                  </a:solidFill>
                </a:rPr>
                <a:t>tu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nombre</a:t>
              </a:r>
              <a:r>
                <a:rPr lang="en-US" sz="1600" b="0" dirty="0">
                  <a:solidFill>
                    <a:schemeClr val="tx2"/>
                  </a:solidFill>
                </a:rPr>
                <a:t> y </a:t>
              </a:r>
              <a:r>
                <a:rPr lang="en-US" sz="1600" b="0" dirty="0" err="1">
                  <a:solidFill>
                    <a:schemeClr val="tx2"/>
                  </a:solidFill>
                </a:rPr>
                <a:t>apellido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Ve a </a:t>
              </a:r>
              <a:r>
                <a:rPr lang="en-US" sz="1600" b="1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1" dirty="0">
                  <a:solidFill>
                    <a:schemeClr val="tx2"/>
                  </a:solidFill>
                </a:rPr>
                <a:t> → </a:t>
              </a:r>
              <a:r>
                <a:rPr lang="en-US" sz="1600" b="1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como</a:t>
              </a:r>
              <a:r>
                <a:rPr lang="en-US" sz="1600" b="1" dirty="0">
                  <a:solidFill>
                    <a:schemeClr val="tx2"/>
                  </a:solidFill>
                </a:rPr>
                <a:t>:</a:t>
              </a:r>
              <a:endParaRPr lang="en-US" sz="1600" b="0" dirty="0">
                <a:solidFill>
                  <a:schemeClr val="tx2"/>
                </a:solidFill>
              </a:endParaRP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</a:t>
              </a:r>
              <a:r>
                <a:rPr lang="en-US" sz="1600" b="0" dirty="0" err="1">
                  <a:solidFill>
                    <a:schemeClr val="tx2"/>
                  </a:solidFill>
                </a:rPr>
                <a:t>dónd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quieres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tu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Cambia </a:t>
              </a:r>
              <a:r>
                <a:rPr lang="en-US" sz="1600" b="1" dirty="0" err="1">
                  <a:solidFill>
                    <a:schemeClr val="tx2"/>
                  </a:solidFill>
                </a:rPr>
                <a:t>el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tipo</a:t>
              </a:r>
              <a:r>
                <a:rPr lang="en-US" sz="1600" b="1" dirty="0">
                  <a:solidFill>
                    <a:schemeClr val="tx2"/>
                  </a:solidFill>
                </a:rPr>
                <a:t> de </a:t>
              </a:r>
              <a:r>
                <a:rPr lang="en-US" sz="1600" b="1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1" dirty="0">
                  <a:solidFill>
                    <a:schemeClr val="tx2"/>
                  </a:solidFill>
                </a:rPr>
                <a:t>: 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n </a:t>
              </a:r>
              <a:r>
                <a:rPr lang="en-US" sz="1600" b="0" dirty="0" err="1">
                  <a:solidFill>
                    <a:schemeClr val="tx2"/>
                  </a:solidFill>
                </a:rPr>
                <a:t>el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menú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desplegable</a:t>
              </a:r>
              <a:r>
                <a:rPr lang="en-US" sz="1600" b="0" dirty="0">
                  <a:solidFill>
                    <a:schemeClr val="tx2"/>
                  </a:solidFill>
                </a:rPr>
                <a:t> "</a:t>
              </a:r>
              <a:r>
                <a:rPr lang="en-US" sz="1600" b="0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como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tipo</a:t>
              </a:r>
              <a:r>
                <a:rPr lang="en-US" sz="1600" b="0" dirty="0">
                  <a:solidFill>
                    <a:schemeClr val="tx2"/>
                  </a:solidFill>
                </a:rPr>
                <a:t>", </a:t>
              </a:r>
              <a:r>
                <a:rPr lang="en-US" sz="1600" b="0" dirty="0" err="1">
                  <a:solidFill>
                    <a:schemeClr val="tx2"/>
                  </a:solidFill>
                </a:rPr>
                <a:t>selecciona</a:t>
              </a:r>
              <a:r>
                <a:rPr lang="en-US" sz="1600" b="0" dirty="0">
                  <a:solidFill>
                    <a:schemeClr val="tx2"/>
                  </a:solidFill>
                </a:rPr>
                <a:t>: Formato de </a:t>
              </a:r>
              <a:r>
                <a:rPr lang="en-US" sz="1600" b="0" dirty="0" err="1">
                  <a:solidFill>
                    <a:schemeClr val="tx2"/>
                  </a:solidFill>
                </a:rPr>
                <a:t>intercambio</a:t>
              </a:r>
              <a:r>
                <a:rPr lang="en-US" sz="1600" b="0" dirty="0">
                  <a:solidFill>
                    <a:schemeClr val="tx2"/>
                  </a:solidFill>
                </a:rPr>
                <a:t> de </a:t>
              </a:r>
              <a:r>
                <a:rPr lang="en-US" sz="1600" b="0" dirty="0" err="1">
                  <a:solidFill>
                    <a:schemeClr val="tx2"/>
                  </a:solidFill>
                </a:rPr>
                <a:t>archivos</a:t>
              </a:r>
              <a:r>
                <a:rPr lang="en-US" sz="1600" b="0" dirty="0">
                  <a:solidFill>
                    <a:schemeClr val="tx2"/>
                  </a:solidFill>
                </a:rPr>
                <a:t> JPEG (*.jpg).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Haz </a:t>
              </a:r>
              <a:r>
                <a:rPr lang="en-US" sz="1600" b="1" dirty="0" err="1">
                  <a:solidFill>
                    <a:schemeClr val="tx2"/>
                  </a:solidFill>
                </a:rPr>
                <a:t>clic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en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1" dirty="0">
                  <a:solidFill>
                    <a:schemeClr val="tx2"/>
                  </a:solidFill>
                </a:rPr>
                <a:t>: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PowerPoint </a:t>
              </a:r>
              <a:r>
                <a:rPr lang="en-US" sz="1600" b="0" dirty="0" err="1">
                  <a:solidFill>
                    <a:schemeClr val="tx2"/>
                  </a:solidFill>
                </a:rPr>
                <a:t>t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preguntará</a:t>
              </a:r>
              <a:r>
                <a:rPr lang="en-US" sz="1600" b="0" dirty="0">
                  <a:solidFill>
                    <a:schemeClr val="tx2"/>
                  </a:solidFill>
                </a:rPr>
                <a:t>: "¿</a:t>
              </a:r>
              <a:r>
                <a:rPr lang="en-US" sz="1600" b="0" dirty="0" err="1">
                  <a:solidFill>
                    <a:schemeClr val="tx2"/>
                  </a:solidFill>
                </a:rPr>
                <a:t>Todas</a:t>
              </a:r>
              <a:r>
                <a:rPr lang="en-US" sz="1600" b="0" dirty="0">
                  <a:solidFill>
                    <a:schemeClr val="tx2"/>
                  </a:solidFill>
                </a:rPr>
                <a:t> las </a:t>
              </a:r>
              <a:r>
                <a:rPr lang="en-US" sz="1600" b="0" dirty="0" err="1">
                  <a:solidFill>
                    <a:schemeClr val="tx2"/>
                  </a:solidFill>
                </a:rPr>
                <a:t>diapositivas</a:t>
              </a:r>
              <a:r>
                <a:rPr lang="en-US" sz="1600" b="0" dirty="0">
                  <a:solidFill>
                    <a:schemeClr val="tx2"/>
                  </a:solidFill>
                </a:rPr>
                <a:t>?" o "¿Solo </a:t>
              </a:r>
              <a:r>
                <a:rPr lang="en-US" sz="1600" b="0" dirty="0" err="1">
                  <a:solidFill>
                    <a:schemeClr val="tx2"/>
                  </a:solidFill>
                </a:rPr>
                <a:t>esta</a:t>
              </a:r>
              <a:r>
                <a:rPr lang="en-US" sz="1600" b="0" dirty="0">
                  <a:solidFill>
                    <a:schemeClr val="tx2"/>
                  </a:solidFill>
                </a:rPr>
                <a:t>?".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Solo </a:t>
              </a:r>
              <a:r>
                <a:rPr lang="en-US" sz="1600" b="0" dirty="0" err="1">
                  <a:solidFill>
                    <a:schemeClr val="tx2"/>
                  </a:solidFill>
                </a:rPr>
                <a:t>esta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¡Listo!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Tu </a:t>
              </a:r>
              <a:r>
                <a:rPr lang="en-US" sz="1600" b="0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0" dirty="0">
                  <a:solidFill>
                    <a:schemeClr val="tx2"/>
                  </a:solidFill>
                </a:rPr>
                <a:t> JPG se </a:t>
              </a:r>
              <a:r>
                <a:rPr lang="en-US" sz="1600" b="0" dirty="0" err="1">
                  <a:solidFill>
                    <a:schemeClr val="tx2"/>
                  </a:solidFill>
                </a:rPr>
                <a:t>guardará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n</a:t>
              </a:r>
              <a:r>
                <a:rPr lang="en-US" sz="1600" b="0" dirty="0">
                  <a:solidFill>
                    <a:schemeClr val="tx2"/>
                  </a:solidFill>
                </a:rPr>
                <a:t> la </a:t>
              </a:r>
              <a:r>
                <a:rPr lang="en-US" sz="1600" b="0" dirty="0" err="1">
                  <a:solidFill>
                    <a:schemeClr val="tx2"/>
                  </a:solidFill>
                </a:rPr>
                <a:t>carpeta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qu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legiste</a:t>
              </a:r>
              <a:r>
                <a:rPr lang="en-US" sz="1600" b="0" dirty="0">
                  <a:solidFill>
                    <a:schemeClr val="tx2"/>
                  </a:solidFill>
                </a:rPr>
                <a:t>, </a:t>
              </a:r>
              <a:r>
                <a:rPr lang="en-US" sz="1600" b="0" dirty="0" err="1">
                  <a:solidFill>
                    <a:schemeClr val="tx2"/>
                  </a:solidFill>
                </a:rPr>
                <a:t>listo</a:t>
              </a:r>
              <a:r>
                <a:rPr lang="en-US" sz="1600" b="0" dirty="0">
                  <a:solidFill>
                    <a:schemeClr val="tx2"/>
                  </a:solidFill>
                </a:rPr>
                <a:t> para </a:t>
              </a:r>
              <a:r>
                <a:rPr lang="en-US" sz="1600" b="0" dirty="0" err="1">
                  <a:solidFill>
                    <a:schemeClr val="tx2"/>
                  </a:solidFill>
                </a:rPr>
                <a:t>compartir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5A735EBA-6E12-0CE4-ADA7-8C4EA1E104F0}"/>
                </a:ext>
              </a:extLst>
            </p:cNvPr>
            <p:cNvSpPr/>
            <p:nvPr userDrawn="1"/>
          </p:nvSpPr>
          <p:spPr>
            <a:xfrm>
              <a:off x="10663678" y="1258818"/>
              <a:ext cx="179205" cy="225550"/>
            </a:xfrm>
            <a:custGeom>
              <a:avLst/>
              <a:gdLst>
                <a:gd name="connsiteX0" fmla="*/ 152305 w 384143"/>
                <a:gd name="connsiteY0" fmla="*/ 0 h 483489"/>
                <a:gd name="connsiteX1" fmla="*/ 384143 w 384143"/>
                <a:gd name="connsiteY1" fmla="*/ 0 h 483489"/>
                <a:gd name="connsiteX2" fmla="*/ 384143 w 384143"/>
                <a:gd name="connsiteY2" fmla="*/ 483489 h 483489"/>
                <a:gd name="connsiteX3" fmla="*/ 244221 w 384143"/>
                <a:gd name="connsiteY3" fmla="*/ 483489 h 483489"/>
                <a:gd name="connsiteX4" fmla="*/ 244221 w 384143"/>
                <a:gd name="connsiteY4" fmla="*/ 64484 h 483489"/>
                <a:gd name="connsiteX5" fmla="*/ 46673 w 384143"/>
                <a:gd name="connsiteY5" fmla="*/ 303181 h 483489"/>
                <a:gd name="connsiteX6" fmla="*/ 0 w 384143"/>
                <a:gd name="connsiteY6" fmla="*/ 183166 h 483489"/>
                <a:gd name="connsiteX7" fmla="*/ 152305 w 384143"/>
                <a:gd name="connsiteY7" fmla="*/ 0 h 4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143" h="483489">
                  <a:moveTo>
                    <a:pt x="152305" y="0"/>
                  </a:moveTo>
                  <a:lnTo>
                    <a:pt x="384143" y="0"/>
                  </a:lnTo>
                  <a:lnTo>
                    <a:pt x="384143" y="483489"/>
                  </a:lnTo>
                  <a:lnTo>
                    <a:pt x="244221" y="483489"/>
                  </a:lnTo>
                  <a:lnTo>
                    <a:pt x="244221" y="64484"/>
                  </a:lnTo>
                  <a:cubicBezTo>
                    <a:pt x="232601" y="178975"/>
                    <a:pt x="200978" y="258604"/>
                    <a:pt x="46673" y="303181"/>
                  </a:cubicBezTo>
                  <a:lnTo>
                    <a:pt x="0" y="183166"/>
                  </a:lnTo>
                  <a:cubicBezTo>
                    <a:pt x="103537" y="148876"/>
                    <a:pt x="146114" y="116681"/>
                    <a:pt x="152305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00AA56E-D283-3E73-2CB6-911BF04361D5}"/>
                </a:ext>
              </a:extLst>
            </p:cNvPr>
            <p:cNvSpPr/>
            <p:nvPr userDrawn="1"/>
          </p:nvSpPr>
          <p:spPr>
            <a:xfrm>
              <a:off x="10649436" y="2211180"/>
              <a:ext cx="207688" cy="230439"/>
            </a:xfrm>
            <a:custGeom>
              <a:avLst/>
              <a:gdLst>
                <a:gd name="connsiteX0" fmla="*/ 237363 w 445198"/>
                <a:gd name="connsiteY0" fmla="*/ 191 h 493966"/>
                <a:gd name="connsiteX1" fmla="*/ 445198 w 445198"/>
                <a:gd name="connsiteY1" fmla="*/ 168212 h 493966"/>
                <a:gd name="connsiteX2" fmla="*/ 56960 w 445198"/>
                <a:gd name="connsiteY2" fmla="*/ 371189 h 493966"/>
                <a:gd name="connsiteX3" fmla="*/ 445198 w 445198"/>
                <a:gd name="connsiteY3" fmla="*/ 371189 h 493966"/>
                <a:gd name="connsiteX4" fmla="*/ 445198 w 445198"/>
                <a:gd name="connsiteY4" fmla="*/ 493967 h 493966"/>
                <a:gd name="connsiteX5" fmla="*/ 6953 w 445198"/>
                <a:gd name="connsiteY5" fmla="*/ 493967 h 493966"/>
                <a:gd name="connsiteX6" fmla="*/ 6953 w 445198"/>
                <a:gd name="connsiteY6" fmla="*/ 259366 h 493966"/>
                <a:gd name="connsiteX7" fmla="*/ 305943 w 445198"/>
                <a:gd name="connsiteY7" fmla="*/ 165354 h 493966"/>
                <a:gd name="connsiteX8" fmla="*/ 234601 w 445198"/>
                <a:gd name="connsiteY8" fmla="*/ 122111 h 493966"/>
                <a:gd name="connsiteX9" fmla="*/ 139256 w 445198"/>
                <a:gd name="connsiteY9" fmla="*/ 224981 h 493966"/>
                <a:gd name="connsiteX10" fmla="*/ 0 w 445198"/>
                <a:gd name="connsiteY10" fmla="*/ 224981 h 493966"/>
                <a:gd name="connsiteX11" fmla="*/ 237268 w 445198"/>
                <a:gd name="connsiteY11" fmla="*/ 0 h 4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5198" h="493966">
                  <a:moveTo>
                    <a:pt x="237363" y="191"/>
                  </a:moveTo>
                  <a:cubicBezTo>
                    <a:pt x="360807" y="191"/>
                    <a:pt x="445198" y="57150"/>
                    <a:pt x="445198" y="168212"/>
                  </a:cubicBezTo>
                  <a:cubicBezTo>
                    <a:pt x="445198" y="317754"/>
                    <a:pt x="273748" y="337661"/>
                    <a:pt x="56960" y="371189"/>
                  </a:cubicBezTo>
                  <a:lnTo>
                    <a:pt x="445198" y="371189"/>
                  </a:lnTo>
                  <a:lnTo>
                    <a:pt x="445198" y="493967"/>
                  </a:lnTo>
                  <a:lnTo>
                    <a:pt x="6953" y="493967"/>
                  </a:lnTo>
                  <a:lnTo>
                    <a:pt x="6953" y="259366"/>
                  </a:lnTo>
                  <a:cubicBezTo>
                    <a:pt x="188690" y="245650"/>
                    <a:pt x="305943" y="222314"/>
                    <a:pt x="305943" y="165354"/>
                  </a:cubicBezTo>
                  <a:cubicBezTo>
                    <a:pt x="305943" y="150305"/>
                    <a:pt x="296990" y="122111"/>
                    <a:pt x="234601" y="122111"/>
                  </a:cubicBezTo>
                  <a:cubicBezTo>
                    <a:pt x="161163" y="122111"/>
                    <a:pt x="139256" y="159163"/>
                    <a:pt x="139256" y="224981"/>
                  </a:cubicBezTo>
                  <a:lnTo>
                    <a:pt x="0" y="224981"/>
                  </a:lnTo>
                  <a:cubicBezTo>
                    <a:pt x="0" y="66580"/>
                    <a:pt x="104299" y="0"/>
                    <a:pt x="237268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8DBABED-CBB2-8772-CD4D-7F569FEC79E3}"/>
                </a:ext>
              </a:extLst>
            </p:cNvPr>
            <p:cNvSpPr/>
            <p:nvPr userDrawn="1"/>
          </p:nvSpPr>
          <p:spPr>
            <a:xfrm>
              <a:off x="10645282" y="2972886"/>
              <a:ext cx="215997" cy="235194"/>
            </a:xfrm>
            <a:custGeom>
              <a:avLst/>
              <a:gdLst>
                <a:gd name="connsiteX0" fmla="*/ 234696 w 463010"/>
                <a:gd name="connsiteY0" fmla="*/ 381381 h 504158"/>
                <a:gd name="connsiteX1" fmla="*/ 323850 w 463010"/>
                <a:gd name="connsiteY1" fmla="*/ 342329 h 504158"/>
                <a:gd name="connsiteX2" fmla="*/ 272415 w 463010"/>
                <a:gd name="connsiteY2" fmla="*/ 304610 h 504158"/>
                <a:gd name="connsiteX3" fmla="*/ 205168 w 463010"/>
                <a:gd name="connsiteY3" fmla="*/ 304610 h 504158"/>
                <a:gd name="connsiteX4" fmla="*/ 205168 w 463010"/>
                <a:gd name="connsiteY4" fmla="*/ 192119 h 504158"/>
                <a:gd name="connsiteX5" fmla="*/ 272415 w 463010"/>
                <a:gd name="connsiteY5" fmla="*/ 192119 h 504158"/>
                <a:gd name="connsiteX6" fmla="*/ 316992 w 463010"/>
                <a:gd name="connsiteY6" fmla="*/ 161925 h 504158"/>
                <a:gd name="connsiteX7" fmla="*/ 230600 w 463010"/>
                <a:gd name="connsiteY7" fmla="*/ 122111 h 504158"/>
                <a:gd name="connsiteX8" fmla="*/ 146209 w 463010"/>
                <a:gd name="connsiteY8" fmla="*/ 176975 h 504158"/>
                <a:gd name="connsiteX9" fmla="*/ 6953 w 463010"/>
                <a:gd name="connsiteY9" fmla="*/ 176975 h 504158"/>
                <a:gd name="connsiteX10" fmla="*/ 240792 w 463010"/>
                <a:gd name="connsiteY10" fmla="*/ 0 h 504158"/>
                <a:gd name="connsiteX11" fmla="*/ 456152 w 463010"/>
                <a:gd name="connsiteY11" fmla="*/ 133064 h 504158"/>
                <a:gd name="connsiteX12" fmla="*/ 366998 w 463010"/>
                <a:gd name="connsiteY12" fmla="*/ 246888 h 504158"/>
                <a:gd name="connsiteX13" fmla="*/ 463010 w 463010"/>
                <a:gd name="connsiteY13" fmla="*/ 358712 h 504158"/>
                <a:gd name="connsiteX14" fmla="*/ 241459 w 463010"/>
                <a:gd name="connsiteY14" fmla="*/ 504158 h 504158"/>
                <a:gd name="connsiteX15" fmla="*/ 0 w 463010"/>
                <a:gd name="connsiteY15" fmla="*/ 309372 h 504158"/>
                <a:gd name="connsiteX16" fmla="*/ 139255 w 463010"/>
                <a:gd name="connsiteY16" fmla="*/ 309372 h 504158"/>
                <a:gd name="connsiteX17" fmla="*/ 234601 w 463010"/>
                <a:gd name="connsiteY17" fmla="*/ 381381 h 50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3010" h="504158">
                  <a:moveTo>
                    <a:pt x="234696" y="381381"/>
                  </a:moveTo>
                  <a:cubicBezTo>
                    <a:pt x="291655" y="381381"/>
                    <a:pt x="323850" y="373856"/>
                    <a:pt x="323850" y="342329"/>
                  </a:cubicBezTo>
                  <a:cubicBezTo>
                    <a:pt x="323850" y="319659"/>
                    <a:pt x="303943" y="304610"/>
                    <a:pt x="272415" y="304610"/>
                  </a:cubicBezTo>
                  <a:lnTo>
                    <a:pt x="205168" y="304610"/>
                  </a:lnTo>
                  <a:lnTo>
                    <a:pt x="205168" y="192119"/>
                  </a:lnTo>
                  <a:lnTo>
                    <a:pt x="272415" y="192119"/>
                  </a:lnTo>
                  <a:cubicBezTo>
                    <a:pt x="303943" y="192119"/>
                    <a:pt x="316992" y="181166"/>
                    <a:pt x="316992" y="161925"/>
                  </a:cubicBezTo>
                  <a:cubicBezTo>
                    <a:pt x="316992" y="134493"/>
                    <a:pt x="293656" y="122111"/>
                    <a:pt x="230600" y="122111"/>
                  </a:cubicBezTo>
                  <a:cubicBezTo>
                    <a:pt x="167545" y="122111"/>
                    <a:pt x="146209" y="133064"/>
                    <a:pt x="146209" y="176975"/>
                  </a:cubicBezTo>
                  <a:lnTo>
                    <a:pt x="6953" y="176975"/>
                  </a:lnTo>
                  <a:cubicBezTo>
                    <a:pt x="6953" y="39815"/>
                    <a:pt x="117348" y="0"/>
                    <a:pt x="240792" y="0"/>
                  </a:cubicBezTo>
                  <a:cubicBezTo>
                    <a:pt x="356044" y="0"/>
                    <a:pt x="456152" y="34290"/>
                    <a:pt x="456152" y="133064"/>
                  </a:cubicBezTo>
                  <a:cubicBezTo>
                    <a:pt x="456152" y="200311"/>
                    <a:pt x="407480" y="235268"/>
                    <a:pt x="366998" y="246888"/>
                  </a:cubicBezTo>
                  <a:cubicBezTo>
                    <a:pt x="399955" y="252413"/>
                    <a:pt x="463010" y="274987"/>
                    <a:pt x="463010" y="358712"/>
                  </a:cubicBezTo>
                  <a:cubicBezTo>
                    <a:pt x="463010" y="470535"/>
                    <a:pt x="356044" y="504158"/>
                    <a:pt x="241459" y="504158"/>
                  </a:cubicBezTo>
                  <a:cubicBezTo>
                    <a:pt x="117348" y="504158"/>
                    <a:pt x="0" y="464344"/>
                    <a:pt x="0" y="309372"/>
                  </a:cubicBezTo>
                  <a:lnTo>
                    <a:pt x="139255" y="309372"/>
                  </a:lnTo>
                  <a:cubicBezTo>
                    <a:pt x="139255" y="372428"/>
                    <a:pt x="170783" y="381381"/>
                    <a:pt x="234601" y="381381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40C457C-D8BC-A5C2-3A73-745D057EDAC1}"/>
                </a:ext>
              </a:extLst>
            </p:cNvPr>
            <p:cNvSpPr/>
            <p:nvPr userDrawn="1"/>
          </p:nvSpPr>
          <p:spPr>
            <a:xfrm>
              <a:off x="10651236" y="4209106"/>
              <a:ext cx="204088" cy="225550"/>
            </a:xfrm>
            <a:custGeom>
              <a:avLst/>
              <a:gdLst>
                <a:gd name="connsiteX0" fmla="*/ 388810 w 437483"/>
                <a:gd name="connsiteY0" fmla="*/ 217361 h 483488"/>
                <a:gd name="connsiteX1" fmla="*/ 388810 w 437483"/>
                <a:gd name="connsiteY1" fmla="*/ 296894 h 483488"/>
                <a:gd name="connsiteX2" fmla="*/ 437483 w 437483"/>
                <a:gd name="connsiteY2" fmla="*/ 296894 h 483488"/>
                <a:gd name="connsiteX3" fmla="*/ 437483 w 437483"/>
                <a:gd name="connsiteY3" fmla="*/ 412147 h 483488"/>
                <a:gd name="connsiteX4" fmla="*/ 388810 w 437483"/>
                <a:gd name="connsiteY4" fmla="*/ 412147 h 483488"/>
                <a:gd name="connsiteX5" fmla="*/ 388810 w 437483"/>
                <a:gd name="connsiteY5" fmla="*/ 483489 h 483488"/>
                <a:gd name="connsiteX6" fmla="*/ 257175 w 437483"/>
                <a:gd name="connsiteY6" fmla="*/ 483489 h 483488"/>
                <a:gd name="connsiteX7" fmla="*/ 257175 w 437483"/>
                <a:gd name="connsiteY7" fmla="*/ 412147 h 483488"/>
                <a:gd name="connsiteX8" fmla="*/ 0 w 437483"/>
                <a:gd name="connsiteY8" fmla="*/ 412147 h 483488"/>
                <a:gd name="connsiteX9" fmla="*/ 0 w 437483"/>
                <a:gd name="connsiteY9" fmla="*/ 182404 h 483488"/>
                <a:gd name="connsiteX10" fmla="*/ 192024 w 437483"/>
                <a:gd name="connsiteY10" fmla="*/ 0 h 483488"/>
                <a:gd name="connsiteX11" fmla="*/ 323755 w 437483"/>
                <a:gd name="connsiteY11" fmla="*/ 0 h 483488"/>
                <a:gd name="connsiteX12" fmla="*/ 50768 w 437483"/>
                <a:gd name="connsiteY12" fmla="*/ 296990 h 483488"/>
                <a:gd name="connsiteX13" fmla="*/ 257175 w 437483"/>
                <a:gd name="connsiteY13" fmla="*/ 296990 h 483488"/>
                <a:gd name="connsiteX14" fmla="*/ 257175 w 437483"/>
                <a:gd name="connsiteY14" fmla="*/ 217456 h 483488"/>
                <a:gd name="connsiteX15" fmla="*/ 388810 w 437483"/>
                <a:gd name="connsiteY15" fmla="*/ 217456 h 48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483" h="483488">
                  <a:moveTo>
                    <a:pt x="388810" y="217361"/>
                  </a:moveTo>
                  <a:lnTo>
                    <a:pt x="388810" y="296894"/>
                  </a:lnTo>
                  <a:lnTo>
                    <a:pt x="437483" y="296894"/>
                  </a:lnTo>
                  <a:lnTo>
                    <a:pt x="437483" y="412147"/>
                  </a:lnTo>
                  <a:lnTo>
                    <a:pt x="388810" y="412147"/>
                  </a:lnTo>
                  <a:lnTo>
                    <a:pt x="388810" y="483489"/>
                  </a:lnTo>
                  <a:lnTo>
                    <a:pt x="257175" y="483489"/>
                  </a:lnTo>
                  <a:lnTo>
                    <a:pt x="257175" y="412147"/>
                  </a:lnTo>
                  <a:lnTo>
                    <a:pt x="0" y="412147"/>
                  </a:lnTo>
                  <a:lnTo>
                    <a:pt x="0" y="182404"/>
                  </a:lnTo>
                  <a:cubicBezTo>
                    <a:pt x="121444" y="176213"/>
                    <a:pt x="186595" y="113824"/>
                    <a:pt x="192024" y="0"/>
                  </a:cubicBezTo>
                  <a:lnTo>
                    <a:pt x="323755" y="0"/>
                  </a:lnTo>
                  <a:cubicBezTo>
                    <a:pt x="320326" y="168688"/>
                    <a:pt x="218789" y="270224"/>
                    <a:pt x="50768" y="296990"/>
                  </a:cubicBezTo>
                  <a:lnTo>
                    <a:pt x="257175" y="296990"/>
                  </a:lnTo>
                  <a:lnTo>
                    <a:pt x="257175" y="217456"/>
                  </a:lnTo>
                  <a:lnTo>
                    <a:pt x="388810" y="2174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67B4783-77AB-65F1-69F2-1FF3DA4A8276}"/>
                </a:ext>
              </a:extLst>
            </p:cNvPr>
            <p:cNvSpPr/>
            <p:nvPr userDrawn="1"/>
          </p:nvSpPr>
          <p:spPr>
            <a:xfrm>
              <a:off x="10646592" y="5400846"/>
              <a:ext cx="213376" cy="230395"/>
            </a:xfrm>
            <a:custGeom>
              <a:avLst/>
              <a:gdLst>
                <a:gd name="connsiteX0" fmla="*/ 0 w 457390"/>
                <a:gd name="connsiteY0" fmla="*/ 310610 h 493871"/>
                <a:gd name="connsiteX1" fmla="*/ 131731 w 457390"/>
                <a:gd name="connsiteY1" fmla="*/ 310610 h 493871"/>
                <a:gd name="connsiteX2" fmla="*/ 235268 w 457390"/>
                <a:gd name="connsiteY2" fmla="*/ 378524 h 493871"/>
                <a:gd name="connsiteX3" fmla="*/ 326517 w 457390"/>
                <a:gd name="connsiteY3" fmla="*/ 313373 h 493871"/>
                <a:gd name="connsiteX4" fmla="*/ 232505 w 457390"/>
                <a:gd name="connsiteY4" fmla="*/ 250317 h 493871"/>
                <a:gd name="connsiteX5" fmla="*/ 138494 w 457390"/>
                <a:gd name="connsiteY5" fmla="*/ 290798 h 493871"/>
                <a:gd name="connsiteX6" fmla="*/ 6096 w 457390"/>
                <a:gd name="connsiteY6" fmla="*/ 221552 h 493871"/>
                <a:gd name="connsiteX7" fmla="*/ 54769 w 457390"/>
                <a:gd name="connsiteY7" fmla="*/ 0 h 493871"/>
                <a:gd name="connsiteX8" fmla="*/ 417576 w 457390"/>
                <a:gd name="connsiteY8" fmla="*/ 0 h 493871"/>
                <a:gd name="connsiteX9" fmla="*/ 417576 w 457390"/>
                <a:gd name="connsiteY9" fmla="*/ 115252 h 493871"/>
                <a:gd name="connsiteX10" fmla="*/ 163830 w 457390"/>
                <a:gd name="connsiteY10" fmla="*/ 115252 h 493871"/>
                <a:gd name="connsiteX11" fmla="*/ 133636 w 457390"/>
                <a:gd name="connsiteY11" fmla="*/ 232505 h 493871"/>
                <a:gd name="connsiteX12" fmla="*/ 290036 w 457390"/>
                <a:gd name="connsiteY12" fmla="*/ 142018 h 493871"/>
                <a:gd name="connsiteX13" fmla="*/ 457390 w 457390"/>
                <a:gd name="connsiteY13" fmla="*/ 305276 h 493871"/>
                <a:gd name="connsiteX14" fmla="*/ 233839 w 457390"/>
                <a:gd name="connsiteY14" fmla="*/ 493871 h 493871"/>
                <a:gd name="connsiteX15" fmla="*/ 0 w 457390"/>
                <a:gd name="connsiteY15" fmla="*/ 310706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390" h="493871">
                  <a:moveTo>
                    <a:pt x="0" y="310610"/>
                  </a:moveTo>
                  <a:lnTo>
                    <a:pt x="131731" y="310610"/>
                  </a:lnTo>
                  <a:cubicBezTo>
                    <a:pt x="131731" y="355187"/>
                    <a:pt x="167354" y="378524"/>
                    <a:pt x="235268" y="378524"/>
                  </a:cubicBezTo>
                  <a:cubicBezTo>
                    <a:pt x="303181" y="378524"/>
                    <a:pt x="326517" y="354521"/>
                    <a:pt x="326517" y="313373"/>
                  </a:cubicBezTo>
                  <a:cubicBezTo>
                    <a:pt x="326517" y="263271"/>
                    <a:pt x="281273" y="250317"/>
                    <a:pt x="232505" y="250317"/>
                  </a:cubicBezTo>
                  <a:cubicBezTo>
                    <a:pt x="188595" y="250317"/>
                    <a:pt x="157067" y="259271"/>
                    <a:pt x="138494" y="290798"/>
                  </a:cubicBezTo>
                  <a:lnTo>
                    <a:pt x="6096" y="221552"/>
                  </a:lnTo>
                  <a:lnTo>
                    <a:pt x="54769" y="0"/>
                  </a:lnTo>
                  <a:lnTo>
                    <a:pt x="417576" y="0"/>
                  </a:lnTo>
                  <a:lnTo>
                    <a:pt x="417576" y="115252"/>
                  </a:lnTo>
                  <a:lnTo>
                    <a:pt x="163830" y="115252"/>
                  </a:lnTo>
                  <a:lnTo>
                    <a:pt x="133636" y="232505"/>
                  </a:lnTo>
                  <a:cubicBezTo>
                    <a:pt x="161735" y="170117"/>
                    <a:pt x="217361" y="142018"/>
                    <a:pt x="290036" y="142018"/>
                  </a:cubicBezTo>
                  <a:cubicBezTo>
                    <a:pt x="382619" y="142018"/>
                    <a:pt x="457390" y="190024"/>
                    <a:pt x="457390" y="305276"/>
                  </a:cubicBezTo>
                  <a:cubicBezTo>
                    <a:pt x="457390" y="433578"/>
                    <a:pt x="369570" y="493871"/>
                    <a:pt x="233839" y="493871"/>
                  </a:cubicBezTo>
                  <a:cubicBezTo>
                    <a:pt x="111728" y="493871"/>
                    <a:pt x="0" y="446532"/>
                    <a:pt x="0" y="31070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B882D39B-7AB4-8B8A-382A-65D737DAB393}"/>
              </a:ext>
            </a:extLst>
          </p:cNvPr>
          <p:cNvSpPr txBox="1"/>
          <p:nvPr userDrawn="1"/>
        </p:nvSpPr>
        <p:spPr>
          <a:xfrm>
            <a:off x="1114697" y="6827520"/>
            <a:ext cx="133066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800" b="1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Reconocido con orgullo como beneficiario de una beca de TC Energía 2026 por seguir estudiando e inspirar a otras personas de tu comunidad a hacer lo mismo. </a:t>
            </a:r>
            <a:endParaRPr lang="en-US" sz="2800" b="1" kern="1200" dirty="0">
              <a:solidFill>
                <a:schemeClr val="tx2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644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meni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A201C02-11D9-094F-E646-37934321CC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182" y="805"/>
            <a:ext cx="15538435" cy="10056787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2025" y="2329"/>
          <a:ext cx="2025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25" y="2329"/>
                        <a:ext cx="2025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C44F38C-B44B-A1CB-4BEA-26FCAE3ED2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57400" y="5268913"/>
            <a:ext cx="11430000" cy="992187"/>
          </a:xfrm>
        </p:spPr>
        <p:txBody>
          <a:bodyPr anchor="ctr">
            <a:noAutofit/>
          </a:bodyPr>
          <a:lstStyle>
            <a:lvl1pPr algn="ctr">
              <a:buFont typeface="Arial" panose="020B0604020202020204" pitchFamily="34" charset="0"/>
              <a:buNone/>
              <a:defRPr sz="4800" i="1"/>
            </a:lvl1pPr>
            <a:lvl2pPr>
              <a:buFont typeface="Arial" panose="020B0604020202020204" pitchFamily="34" charset="0"/>
              <a:buNone/>
              <a:defRPr sz="3200" i="1"/>
            </a:lvl2pPr>
            <a:lvl3pPr>
              <a:buNone/>
              <a:defRPr sz="3200" i="1"/>
            </a:lvl3pPr>
            <a:lvl4pPr>
              <a:buNone/>
              <a:defRPr sz="3200" i="1"/>
            </a:lvl4pPr>
            <a:lvl5pPr>
              <a:buNone/>
              <a:defRPr sz="3200" i="1"/>
            </a:lvl5pPr>
          </a:lstStyle>
          <a:p>
            <a:pPr lvl="0"/>
            <a:r>
              <a:rPr lang="en-US" dirty="0"/>
              <a:t>TU NOMB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159325-065C-4F73-924A-3EFB7322F4AE}"/>
              </a:ext>
            </a:extLst>
          </p:cNvPr>
          <p:cNvGrpSpPr/>
          <p:nvPr userDrawn="1"/>
        </p:nvGrpSpPr>
        <p:grpSpPr>
          <a:xfrm>
            <a:off x="-4649188" y="4658"/>
            <a:ext cx="4407247" cy="5527117"/>
            <a:chOff x="10477007" y="683441"/>
            <a:chExt cx="4407247" cy="552711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BFC76F9-2215-ED55-AF0F-6EF92A48B79D}"/>
                </a:ext>
              </a:extLst>
            </p:cNvPr>
            <p:cNvSpPr txBox="1"/>
            <p:nvPr userDrawn="1"/>
          </p:nvSpPr>
          <p:spPr>
            <a:xfrm>
              <a:off x="10477007" y="683441"/>
              <a:ext cx="336053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CÓMO USAR ESTA PLANTILLA: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7B68B8D-776A-0247-A6DE-7CF050B498CA}"/>
                </a:ext>
              </a:extLst>
            </p:cNvPr>
            <p:cNvSpPr txBox="1"/>
            <p:nvPr userDrawn="1"/>
          </p:nvSpPr>
          <p:spPr>
            <a:xfrm>
              <a:off x="10895961" y="1193800"/>
              <a:ext cx="3988293" cy="50167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sz="1600" b="1" dirty="0">
                  <a:solidFill>
                    <a:schemeClr val="tx2"/>
                  </a:solidFill>
                </a:rPr>
                <a:t>Edita </a:t>
              </a:r>
              <a:r>
                <a:rPr lang="en-US" sz="1600" b="1" dirty="0" err="1">
                  <a:solidFill>
                    <a:schemeClr val="tx2"/>
                  </a:solidFill>
                </a:rPr>
                <a:t>tu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diapositiva</a:t>
              </a:r>
              <a:r>
                <a:rPr lang="en-US" sz="1600" b="1" dirty="0">
                  <a:solidFill>
                    <a:schemeClr val="tx2"/>
                  </a:solidFill>
                </a:rPr>
                <a:t>: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 err="1">
                  <a:solidFill>
                    <a:schemeClr val="tx2"/>
                  </a:solidFill>
                </a:rPr>
                <a:t>Reemplaza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l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área</a:t>
              </a:r>
              <a:r>
                <a:rPr lang="en-US" sz="1600" b="0" dirty="0">
                  <a:solidFill>
                    <a:schemeClr val="tx2"/>
                  </a:solidFill>
                </a:rPr>
                <a:t> de </a:t>
              </a:r>
              <a:r>
                <a:rPr lang="en-US" sz="1600" b="0" dirty="0" err="1">
                  <a:solidFill>
                    <a:schemeClr val="tx2"/>
                  </a:solidFill>
                </a:rPr>
                <a:t>texto</a:t>
              </a:r>
              <a:r>
                <a:rPr lang="en-US" sz="1600" b="0" dirty="0">
                  <a:solidFill>
                    <a:schemeClr val="tx2"/>
                  </a:solidFill>
                </a:rPr>
                <a:t> de </a:t>
              </a:r>
              <a:r>
                <a:rPr lang="en-US" sz="1600" b="0" dirty="0" err="1">
                  <a:solidFill>
                    <a:schemeClr val="tx2"/>
                  </a:solidFill>
                </a:rPr>
                <a:t>ejemplo</a:t>
              </a:r>
              <a:r>
                <a:rPr lang="en-US" sz="1600" b="0" dirty="0">
                  <a:solidFill>
                    <a:schemeClr val="tx2"/>
                  </a:solidFill>
                </a:rPr>
                <a:t> con </a:t>
              </a:r>
              <a:r>
                <a:rPr lang="en-US" sz="1600" b="0" dirty="0" err="1">
                  <a:solidFill>
                    <a:schemeClr val="tx2"/>
                  </a:solidFill>
                </a:rPr>
                <a:t>tu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nombre</a:t>
              </a:r>
              <a:r>
                <a:rPr lang="en-US" sz="1600" b="0" dirty="0">
                  <a:solidFill>
                    <a:schemeClr val="tx2"/>
                  </a:solidFill>
                </a:rPr>
                <a:t> y </a:t>
              </a:r>
              <a:r>
                <a:rPr lang="en-US" sz="1600" b="0" dirty="0" err="1">
                  <a:solidFill>
                    <a:schemeClr val="tx2"/>
                  </a:solidFill>
                </a:rPr>
                <a:t>apellido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Ve a </a:t>
              </a:r>
              <a:r>
                <a:rPr lang="en-US" sz="1600" b="1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1" dirty="0">
                  <a:solidFill>
                    <a:schemeClr val="tx2"/>
                  </a:solidFill>
                </a:rPr>
                <a:t> → </a:t>
              </a:r>
              <a:r>
                <a:rPr lang="en-US" sz="1600" b="1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como</a:t>
              </a:r>
              <a:r>
                <a:rPr lang="en-US" sz="1600" b="1" dirty="0">
                  <a:solidFill>
                    <a:schemeClr val="tx2"/>
                  </a:solidFill>
                </a:rPr>
                <a:t>:</a:t>
              </a:r>
              <a:endParaRPr lang="en-US" sz="1600" b="0" dirty="0">
                <a:solidFill>
                  <a:schemeClr val="tx2"/>
                </a:solidFill>
              </a:endParaRP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</a:t>
              </a:r>
              <a:r>
                <a:rPr lang="en-US" sz="1600" b="0" dirty="0" err="1">
                  <a:solidFill>
                    <a:schemeClr val="tx2"/>
                  </a:solidFill>
                </a:rPr>
                <a:t>dónd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quieres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tu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Cambia </a:t>
              </a:r>
              <a:r>
                <a:rPr lang="en-US" sz="1600" b="1" dirty="0" err="1">
                  <a:solidFill>
                    <a:schemeClr val="tx2"/>
                  </a:solidFill>
                </a:rPr>
                <a:t>el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tipo</a:t>
              </a:r>
              <a:r>
                <a:rPr lang="en-US" sz="1600" b="1" dirty="0">
                  <a:solidFill>
                    <a:schemeClr val="tx2"/>
                  </a:solidFill>
                </a:rPr>
                <a:t> de </a:t>
              </a:r>
              <a:r>
                <a:rPr lang="en-US" sz="1600" b="1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1" dirty="0">
                  <a:solidFill>
                    <a:schemeClr val="tx2"/>
                  </a:solidFill>
                </a:rPr>
                <a:t>: 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n </a:t>
              </a:r>
              <a:r>
                <a:rPr lang="en-US" sz="1600" b="0" dirty="0" err="1">
                  <a:solidFill>
                    <a:schemeClr val="tx2"/>
                  </a:solidFill>
                </a:rPr>
                <a:t>el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menú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desplegable</a:t>
              </a:r>
              <a:r>
                <a:rPr lang="en-US" sz="1600" b="0" dirty="0">
                  <a:solidFill>
                    <a:schemeClr val="tx2"/>
                  </a:solidFill>
                </a:rPr>
                <a:t> "</a:t>
              </a:r>
              <a:r>
                <a:rPr lang="en-US" sz="1600" b="0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como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tipo</a:t>
              </a:r>
              <a:r>
                <a:rPr lang="en-US" sz="1600" b="0" dirty="0">
                  <a:solidFill>
                    <a:schemeClr val="tx2"/>
                  </a:solidFill>
                </a:rPr>
                <a:t>", </a:t>
              </a:r>
              <a:r>
                <a:rPr lang="en-US" sz="1600" b="0" dirty="0" err="1">
                  <a:solidFill>
                    <a:schemeClr val="tx2"/>
                  </a:solidFill>
                </a:rPr>
                <a:t>selecciona</a:t>
              </a:r>
              <a:r>
                <a:rPr lang="en-US" sz="1600" b="0" dirty="0">
                  <a:solidFill>
                    <a:schemeClr val="tx2"/>
                  </a:solidFill>
                </a:rPr>
                <a:t>: Formato de </a:t>
              </a:r>
              <a:r>
                <a:rPr lang="en-US" sz="1600" b="0" dirty="0" err="1">
                  <a:solidFill>
                    <a:schemeClr val="tx2"/>
                  </a:solidFill>
                </a:rPr>
                <a:t>intercambio</a:t>
              </a:r>
              <a:r>
                <a:rPr lang="en-US" sz="1600" b="0" dirty="0">
                  <a:solidFill>
                    <a:schemeClr val="tx2"/>
                  </a:solidFill>
                </a:rPr>
                <a:t> de </a:t>
              </a:r>
              <a:r>
                <a:rPr lang="en-US" sz="1600" b="0" dirty="0" err="1">
                  <a:solidFill>
                    <a:schemeClr val="tx2"/>
                  </a:solidFill>
                </a:rPr>
                <a:t>archivos</a:t>
              </a:r>
              <a:r>
                <a:rPr lang="en-US" sz="1600" b="0" dirty="0">
                  <a:solidFill>
                    <a:schemeClr val="tx2"/>
                  </a:solidFill>
                </a:rPr>
                <a:t> JPEG (*.jpg).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Haz </a:t>
              </a:r>
              <a:r>
                <a:rPr lang="en-US" sz="1600" b="1" dirty="0" err="1">
                  <a:solidFill>
                    <a:schemeClr val="tx2"/>
                  </a:solidFill>
                </a:rPr>
                <a:t>clic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en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1" dirty="0">
                  <a:solidFill>
                    <a:schemeClr val="tx2"/>
                  </a:solidFill>
                </a:rPr>
                <a:t>: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PowerPoint </a:t>
              </a:r>
              <a:r>
                <a:rPr lang="en-US" sz="1600" b="0" dirty="0" err="1">
                  <a:solidFill>
                    <a:schemeClr val="tx2"/>
                  </a:solidFill>
                </a:rPr>
                <a:t>t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preguntará</a:t>
              </a:r>
              <a:r>
                <a:rPr lang="en-US" sz="1600" b="0" dirty="0">
                  <a:solidFill>
                    <a:schemeClr val="tx2"/>
                  </a:solidFill>
                </a:rPr>
                <a:t>: "¿</a:t>
              </a:r>
              <a:r>
                <a:rPr lang="en-US" sz="1600" b="0" dirty="0" err="1">
                  <a:solidFill>
                    <a:schemeClr val="tx2"/>
                  </a:solidFill>
                </a:rPr>
                <a:t>Todas</a:t>
              </a:r>
              <a:r>
                <a:rPr lang="en-US" sz="1600" b="0" dirty="0">
                  <a:solidFill>
                    <a:schemeClr val="tx2"/>
                  </a:solidFill>
                </a:rPr>
                <a:t> las </a:t>
              </a:r>
              <a:r>
                <a:rPr lang="en-US" sz="1600" b="0" dirty="0" err="1">
                  <a:solidFill>
                    <a:schemeClr val="tx2"/>
                  </a:solidFill>
                </a:rPr>
                <a:t>diapositivas</a:t>
              </a:r>
              <a:r>
                <a:rPr lang="en-US" sz="1600" b="0" dirty="0">
                  <a:solidFill>
                    <a:schemeClr val="tx2"/>
                  </a:solidFill>
                </a:rPr>
                <a:t>?" o "¿Solo </a:t>
              </a:r>
              <a:r>
                <a:rPr lang="en-US" sz="1600" b="0" dirty="0" err="1">
                  <a:solidFill>
                    <a:schemeClr val="tx2"/>
                  </a:solidFill>
                </a:rPr>
                <a:t>esta</a:t>
              </a:r>
              <a:r>
                <a:rPr lang="en-US" sz="1600" b="0" dirty="0">
                  <a:solidFill>
                    <a:schemeClr val="tx2"/>
                  </a:solidFill>
                </a:rPr>
                <a:t>?".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Solo </a:t>
              </a:r>
              <a:r>
                <a:rPr lang="en-US" sz="1600" b="0" dirty="0" err="1">
                  <a:solidFill>
                    <a:schemeClr val="tx2"/>
                  </a:solidFill>
                </a:rPr>
                <a:t>esta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¡Listo!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Tu </a:t>
              </a:r>
              <a:r>
                <a:rPr lang="en-US" sz="1600" b="0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0" dirty="0">
                  <a:solidFill>
                    <a:schemeClr val="tx2"/>
                  </a:solidFill>
                </a:rPr>
                <a:t> JPG se </a:t>
              </a:r>
              <a:r>
                <a:rPr lang="en-US" sz="1600" b="0" dirty="0" err="1">
                  <a:solidFill>
                    <a:schemeClr val="tx2"/>
                  </a:solidFill>
                </a:rPr>
                <a:t>guardará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n</a:t>
              </a:r>
              <a:r>
                <a:rPr lang="en-US" sz="1600" b="0" dirty="0">
                  <a:solidFill>
                    <a:schemeClr val="tx2"/>
                  </a:solidFill>
                </a:rPr>
                <a:t> la </a:t>
              </a:r>
              <a:r>
                <a:rPr lang="en-US" sz="1600" b="0" dirty="0" err="1">
                  <a:solidFill>
                    <a:schemeClr val="tx2"/>
                  </a:solidFill>
                </a:rPr>
                <a:t>carpeta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qu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legiste</a:t>
              </a:r>
              <a:r>
                <a:rPr lang="en-US" sz="1600" b="0" dirty="0">
                  <a:solidFill>
                    <a:schemeClr val="tx2"/>
                  </a:solidFill>
                </a:rPr>
                <a:t>, </a:t>
              </a:r>
              <a:r>
                <a:rPr lang="en-US" sz="1600" b="0" dirty="0" err="1">
                  <a:solidFill>
                    <a:schemeClr val="tx2"/>
                  </a:solidFill>
                </a:rPr>
                <a:t>listo</a:t>
              </a:r>
              <a:r>
                <a:rPr lang="en-US" sz="1600" b="0" dirty="0">
                  <a:solidFill>
                    <a:schemeClr val="tx2"/>
                  </a:solidFill>
                </a:rPr>
                <a:t> para </a:t>
              </a:r>
              <a:r>
                <a:rPr lang="en-US" sz="1600" b="0" dirty="0" err="1">
                  <a:solidFill>
                    <a:schemeClr val="tx2"/>
                  </a:solidFill>
                </a:rPr>
                <a:t>compartir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5A735EBA-6E12-0CE4-ADA7-8C4EA1E104F0}"/>
                </a:ext>
              </a:extLst>
            </p:cNvPr>
            <p:cNvSpPr/>
            <p:nvPr userDrawn="1"/>
          </p:nvSpPr>
          <p:spPr>
            <a:xfrm>
              <a:off x="10663678" y="1258818"/>
              <a:ext cx="179205" cy="225550"/>
            </a:xfrm>
            <a:custGeom>
              <a:avLst/>
              <a:gdLst>
                <a:gd name="connsiteX0" fmla="*/ 152305 w 384143"/>
                <a:gd name="connsiteY0" fmla="*/ 0 h 483489"/>
                <a:gd name="connsiteX1" fmla="*/ 384143 w 384143"/>
                <a:gd name="connsiteY1" fmla="*/ 0 h 483489"/>
                <a:gd name="connsiteX2" fmla="*/ 384143 w 384143"/>
                <a:gd name="connsiteY2" fmla="*/ 483489 h 483489"/>
                <a:gd name="connsiteX3" fmla="*/ 244221 w 384143"/>
                <a:gd name="connsiteY3" fmla="*/ 483489 h 483489"/>
                <a:gd name="connsiteX4" fmla="*/ 244221 w 384143"/>
                <a:gd name="connsiteY4" fmla="*/ 64484 h 483489"/>
                <a:gd name="connsiteX5" fmla="*/ 46673 w 384143"/>
                <a:gd name="connsiteY5" fmla="*/ 303181 h 483489"/>
                <a:gd name="connsiteX6" fmla="*/ 0 w 384143"/>
                <a:gd name="connsiteY6" fmla="*/ 183166 h 483489"/>
                <a:gd name="connsiteX7" fmla="*/ 152305 w 384143"/>
                <a:gd name="connsiteY7" fmla="*/ 0 h 4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143" h="483489">
                  <a:moveTo>
                    <a:pt x="152305" y="0"/>
                  </a:moveTo>
                  <a:lnTo>
                    <a:pt x="384143" y="0"/>
                  </a:lnTo>
                  <a:lnTo>
                    <a:pt x="384143" y="483489"/>
                  </a:lnTo>
                  <a:lnTo>
                    <a:pt x="244221" y="483489"/>
                  </a:lnTo>
                  <a:lnTo>
                    <a:pt x="244221" y="64484"/>
                  </a:lnTo>
                  <a:cubicBezTo>
                    <a:pt x="232601" y="178975"/>
                    <a:pt x="200978" y="258604"/>
                    <a:pt x="46673" y="303181"/>
                  </a:cubicBezTo>
                  <a:lnTo>
                    <a:pt x="0" y="183166"/>
                  </a:lnTo>
                  <a:cubicBezTo>
                    <a:pt x="103537" y="148876"/>
                    <a:pt x="146114" y="116681"/>
                    <a:pt x="152305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00AA56E-D283-3E73-2CB6-911BF04361D5}"/>
                </a:ext>
              </a:extLst>
            </p:cNvPr>
            <p:cNvSpPr/>
            <p:nvPr userDrawn="1"/>
          </p:nvSpPr>
          <p:spPr>
            <a:xfrm>
              <a:off x="10649436" y="2211180"/>
              <a:ext cx="207688" cy="230439"/>
            </a:xfrm>
            <a:custGeom>
              <a:avLst/>
              <a:gdLst>
                <a:gd name="connsiteX0" fmla="*/ 237363 w 445198"/>
                <a:gd name="connsiteY0" fmla="*/ 191 h 493966"/>
                <a:gd name="connsiteX1" fmla="*/ 445198 w 445198"/>
                <a:gd name="connsiteY1" fmla="*/ 168212 h 493966"/>
                <a:gd name="connsiteX2" fmla="*/ 56960 w 445198"/>
                <a:gd name="connsiteY2" fmla="*/ 371189 h 493966"/>
                <a:gd name="connsiteX3" fmla="*/ 445198 w 445198"/>
                <a:gd name="connsiteY3" fmla="*/ 371189 h 493966"/>
                <a:gd name="connsiteX4" fmla="*/ 445198 w 445198"/>
                <a:gd name="connsiteY4" fmla="*/ 493967 h 493966"/>
                <a:gd name="connsiteX5" fmla="*/ 6953 w 445198"/>
                <a:gd name="connsiteY5" fmla="*/ 493967 h 493966"/>
                <a:gd name="connsiteX6" fmla="*/ 6953 w 445198"/>
                <a:gd name="connsiteY6" fmla="*/ 259366 h 493966"/>
                <a:gd name="connsiteX7" fmla="*/ 305943 w 445198"/>
                <a:gd name="connsiteY7" fmla="*/ 165354 h 493966"/>
                <a:gd name="connsiteX8" fmla="*/ 234601 w 445198"/>
                <a:gd name="connsiteY8" fmla="*/ 122111 h 493966"/>
                <a:gd name="connsiteX9" fmla="*/ 139256 w 445198"/>
                <a:gd name="connsiteY9" fmla="*/ 224981 h 493966"/>
                <a:gd name="connsiteX10" fmla="*/ 0 w 445198"/>
                <a:gd name="connsiteY10" fmla="*/ 224981 h 493966"/>
                <a:gd name="connsiteX11" fmla="*/ 237268 w 445198"/>
                <a:gd name="connsiteY11" fmla="*/ 0 h 4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5198" h="493966">
                  <a:moveTo>
                    <a:pt x="237363" y="191"/>
                  </a:moveTo>
                  <a:cubicBezTo>
                    <a:pt x="360807" y="191"/>
                    <a:pt x="445198" y="57150"/>
                    <a:pt x="445198" y="168212"/>
                  </a:cubicBezTo>
                  <a:cubicBezTo>
                    <a:pt x="445198" y="317754"/>
                    <a:pt x="273748" y="337661"/>
                    <a:pt x="56960" y="371189"/>
                  </a:cubicBezTo>
                  <a:lnTo>
                    <a:pt x="445198" y="371189"/>
                  </a:lnTo>
                  <a:lnTo>
                    <a:pt x="445198" y="493967"/>
                  </a:lnTo>
                  <a:lnTo>
                    <a:pt x="6953" y="493967"/>
                  </a:lnTo>
                  <a:lnTo>
                    <a:pt x="6953" y="259366"/>
                  </a:lnTo>
                  <a:cubicBezTo>
                    <a:pt x="188690" y="245650"/>
                    <a:pt x="305943" y="222314"/>
                    <a:pt x="305943" y="165354"/>
                  </a:cubicBezTo>
                  <a:cubicBezTo>
                    <a:pt x="305943" y="150305"/>
                    <a:pt x="296990" y="122111"/>
                    <a:pt x="234601" y="122111"/>
                  </a:cubicBezTo>
                  <a:cubicBezTo>
                    <a:pt x="161163" y="122111"/>
                    <a:pt x="139256" y="159163"/>
                    <a:pt x="139256" y="224981"/>
                  </a:cubicBezTo>
                  <a:lnTo>
                    <a:pt x="0" y="224981"/>
                  </a:lnTo>
                  <a:cubicBezTo>
                    <a:pt x="0" y="66580"/>
                    <a:pt x="104299" y="0"/>
                    <a:pt x="237268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8DBABED-CBB2-8772-CD4D-7F569FEC79E3}"/>
                </a:ext>
              </a:extLst>
            </p:cNvPr>
            <p:cNvSpPr/>
            <p:nvPr userDrawn="1"/>
          </p:nvSpPr>
          <p:spPr>
            <a:xfrm>
              <a:off x="10645282" y="2972886"/>
              <a:ext cx="215997" cy="235194"/>
            </a:xfrm>
            <a:custGeom>
              <a:avLst/>
              <a:gdLst>
                <a:gd name="connsiteX0" fmla="*/ 234696 w 463010"/>
                <a:gd name="connsiteY0" fmla="*/ 381381 h 504158"/>
                <a:gd name="connsiteX1" fmla="*/ 323850 w 463010"/>
                <a:gd name="connsiteY1" fmla="*/ 342329 h 504158"/>
                <a:gd name="connsiteX2" fmla="*/ 272415 w 463010"/>
                <a:gd name="connsiteY2" fmla="*/ 304610 h 504158"/>
                <a:gd name="connsiteX3" fmla="*/ 205168 w 463010"/>
                <a:gd name="connsiteY3" fmla="*/ 304610 h 504158"/>
                <a:gd name="connsiteX4" fmla="*/ 205168 w 463010"/>
                <a:gd name="connsiteY4" fmla="*/ 192119 h 504158"/>
                <a:gd name="connsiteX5" fmla="*/ 272415 w 463010"/>
                <a:gd name="connsiteY5" fmla="*/ 192119 h 504158"/>
                <a:gd name="connsiteX6" fmla="*/ 316992 w 463010"/>
                <a:gd name="connsiteY6" fmla="*/ 161925 h 504158"/>
                <a:gd name="connsiteX7" fmla="*/ 230600 w 463010"/>
                <a:gd name="connsiteY7" fmla="*/ 122111 h 504158"/>
                <a:gd name="connsiteX8" fmla="*/ 146209 w 463010"/>
                <a:gd name="connsiteY8" fmla="*/ 176975 h 504158"/>
                <a:gd name="connsiteX9" fmla="*/ 6953 w 463010"/>
                <a:gd name="connsiteY9" fmla="*/ 176975 h 504158"/>
                <a:gd name="connsiteX10" fmla="*/ 240792 w 463010"/>
                <a:gd name="connsiteY10" fmla="*/ 0 h 504158"/>
                <a:gd name="connsiteX11" fmla="*/ 456152 w 463010"/>
                <a:gd name="connsiteY11" fmla="*/ 133064 h 504158"/>
                <a:gd name="connsiteX12" fmla="*/ 366998 w 463010"/>
                <a:gd name="connsiteY12" fmla="*/ 246888 h 504158"/>
                <a:gd name="connsiteX13" fmla="*/ 463010 w 463010"/>
                <a:gd name="connsiteY13" fmla="*/ 358712 h 504158"/>
                <a:gd name="connsiteX14" fmla="*/ 241459 w 463010"/>
                <a:gd name="connsiteY14" fmla="*/ 504158 h 504158"/>
                <a:gd name="connsiteX15" fmla="*/ 0 w 463010"/>
                <a:gd name="connsiteY15" fmla="*/ 309372 h 504158"/>
                <a:gd name="connsiteX16" fmla="*/ 139255 w 463010"/>
                <a:gd name="connsiteY16" fmla="*/ 309372 h 504158"/>
                <a:gd name="connsiteX17" fmla="*/ 234601 w 463010"/>
                <a:gd name="connsiteY17" fmla="*/ 381381 h 50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3010" h="504158">
                  <a:moveTo>
                    <a:pt x="234696" y="381381"/>
                  </a:moveTo>
                  <a:cubicBezTo>
                    <a:pt x="291655" y="381381"/>
                    <a:pt x="323850" y="373856"/>
                    <a:pt x="323850" y="342329"/>
                  </a:cubicBezTo>
                  <a:cubicBezTo>
                    <a:pt x="323850" y="319659"/>
                    <a:pt x="303943" y="304610"/>
                    <a:pt x="272415" y="304610"/>
                  </a:cubicBezTo>
                  <a:lnTo>
                    <a:pt x="205168" y="304610"/>
                  </a:lnTo>
                  <a:lnTo>
                    <a:pt x="205168" y="192119"/>
                  </a:lnTo>
                  <a:lnTo>
                    <a:pt x="272415" y="192119"/>
                  </a:lnTo>
                  <a:cubicBezTo>
                    <a:pt x="303943" y="192119"/>
                    <a:pt x="316992" y="181166"/>
                    <a:pt x="316992" y="161925"/>
                  </a:cubicBezTo>
                  <a:cubicBezTo>
                    <a:pt x="316992" y="134493"/>
                    <a:pt x="293656" y="122111"/>
                    <a:pt x="230600" y="122111"/>
                  </a:cubicBezTo>
                  <a:cubicBezTo>
                    <a:pt x="167545" y="122111"/>
                    <a:pt x="146209" y="133064"/>
                    <a:pt x="146209" y="176975"/>
                  </a:cubicBezTo>
                  <a:lnTo>
                    <a:pt x="6953" y="176975"/>
                  </a:lnTo>
                  <a:cubicBezTo>
                    <a:pt x="6953" y="39815"/>
                    <a:pt x="117348" y="0"/>
                    <a:pt x="240792" y="0"/>
                  </a:cubicBezTo>
                  <a:cubicBezTo>
                    <a:pt x="356044" y="0"/>
                    <a:pt x="456152" y="34290"/>
                    <a:pt x="456152" y="133064"/>
                  </a:cubicBezTo>
                  <a:cubicBezTo>
                    <a:pt x="456152" y="200311"/>
                    <a:pt x="407480" y="235268"/>
                    <a:pt x="366998" y="246888"/>
                  </a:cubicBezTo>
                  <a:cubicBezTo>
                    <a:pt x="399955" y="252413"/>
                    <a:pt x="463010" y="274987"/>
                    <a:pt x="463010" y="358712"/>
                  </a:cubicBezTo>
                  <a:cubicBezTo>
                    <a:pt x="463010" y="470535"/>
                    <a:pt x="356044" y="504158"/>
                    <a:pt x="241459" y="504158"/>
                  </a:cubicBezTo>
                  <a:cubicBezTo>
                    <a:pt x="117348" y="504158"/>
                    <a:pt x="0" y="464344"/>
                    <a:pt x="0" y="309372"/>
                  </a:cubicBezTo>
                  <a:lnTo>
                    <a:pt x="139255" y="309372"/>
                  </a:lnTo>
                  <a:cubicBezTo>
                    <a:pt x="139255" y="372428"/>
                    <a:pt x="170783" y="381381"/>
                    <a:pt x="234601" y="381381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40C457C-D8BC-A5C2-3A73-745D057EDAC1}"/>
                </a:ext>
              </a:extLst>
            </p:cNvPr>
            <p:cNvSpPr/>
            <p:nvPr userDrawn="1"/>
          </p:nvSpPr>
          <p:spPr>
            <a:xfrm>
              <a:off x="10651236" y="4209106"/>
              <a:ext cx="204088" cy="225550"/>
            </a:xfrm>
            <a:custGeom>
              <a:avLst/>
              <a:gdLst>
                <a:gd name="connsiteX0" fmla="*/ 388810 w 437483"/>
                <a:gd name="connsiteY0" fmla="*/ 217361 h 483488"/>
                <a:gd name="connsiteX1" fmla="*/ 388810 w 437483"/>
                <a:gd name="connsiteY1" fmla="*/ 296894 h 483488"/>
                <a:gd name="connsiteX2" fmla="*/ 437483 w 437483"/>
                <a:gd name="connsiteY2" fmla="*/ 296894 h 483488"/>
                <a:gd name="connsiteX3" fmla="*/ 437483 w 437483"/>
                <a:gd name="connsiteY3" fmla="*/ 412147 h 483488"/>
                <a:gd name="connsiteX4" fmla="*/ 388810 w 437483"/>
                <a:gd name="connsiteY4" fmla="*/ 412147 h 483488"/>
                <a:gd name="connsiteX5" fmla="*/ 388810 w 437483"/>
                <a:gd name="connsiteY5" fmla="*/ 483489 h 483488"/>
                <a:gd name="connsiteX6" fmla="*/ 257175 w 437483"/>
                <a:gd name="connsiteY6" fmla="*/ 483489 h 483488"/>
                <a:gd name="connsiteX7" fmla="*/ 257175 w 437483"/>
                <a:gd name="connsiteY7" fmla="*/ 412147 h 483488"/>
                <a:gd name="connsiteX8" fmla="*/ 0 w 437483"/>
                <a:gd name="connsiteY8" fmla="*/ 412147 h 483488"/>
                <a:gd name="connsiteX9" fmla="*/ 0 w 437483"/>
                <a:gd name="connsiteY9" fmla="*/ 182404 h 483488"/>
                <a:gd name="connsiteX10" fmla="*/ 192024 w 437483"/>
                <a:gd name="connsiteY10" fmla="*/ 0 h 483488"/>
                <a:gd name="connsiteX11" fmla="*/ 323755 w 437483"/>
                <a:gd name="connsiteY11" fmla="*/ 0 h 483488"/>
                <a:gd name="connsiteX12" fmla="*/ 50768 w 437483"/>
                <a:gd name="connsiteY12" fmla="*/ 296990 h 483488"/>
                <a:gd name="connsiteX13" fmla="*/ 257175 w 437483"/>
                <a:gd name="connsiteY13" fmla="*/ 296990 h 483488"/>
                <a:gd name="connsiteX14" fmla="*/ 257175 w 437483"/>
                <a:gd name="connsiteY14" fmla="*/ 217456 h 483488"/>
                <a:gd name="connsiteX15" fmla="*/ 388810 w 437483"/>
                <a:gd name="connsiteY15" fmla="*/ 217456 h 48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483" h="483488">
                  <a:moveTo>
                    <a:pt x="388810" y="217361"/>
                  </a:moveTo>
                  <a:lnTo>
                    <a:pt x="388810" y="296894"/>
                  </a:lnTo>
                  <a:lnTo>
                    <a:pt x="437483" y="296894"/>
                  </a:lnTo>
                  <a:lnTo>
                    <a:pt x="437483" y="412147"/>
                  </a:lnTo>
                  <a:lnTo>
                    <a:pt x="388810" y="412147"/>
                  </a:lnTo>
                  <a:lnTo>
                    <a:pt x="388810" y="483489"/>
                  </a:lnTo>
                  <a:lnTo>
                    <a:pt x="257175" y="483489"/>
                  </a:lnTo>
                  <a:lnTo>
                    <a:pt x="257175" y="412147"/>
                  </a:lnTo>
                  <a:lnTo>
                    <a:pt x="0" y="412147"/>
                  </a:lnTo>
                  <a:lnTo>
                    <a:pt x="0" y="182404"/>
                  </a:lnTo>
                  <a:cubicBezTo>
                    <a:pt x="121444" y="176213"/>
                    <a:pt x="186595" y="113824"/>
                    <a:pt x="192024" y="0"/>
                  </a:cubicBezTo>
                  <a:lnTo>
                    <a:pt x="323755" y="0"/>
                  </a:lnTo>
                  <a:cubicBezTo>
                    <a:pt x="320326" y="168688"/>
                    <a:pt x="218789" y="270224"/>
                    <a:pt x="50768" y="296990"/>
                  </a:cubicBezTo>
                  <a:lnTo>
                    <a:pt x="257175" y="296990"/>
                  </a:lnTo>
                  <a:lnTo>
                    <a:pt x="257175" y="217456"/>
                  </a:lnTo>
                  <a:lnTo>
                    <a:pt x="388810" y="2174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67B4783-77AB-65F1-69F2-1FF3DA4A8276}"/>
                </a:ext>
              </a:extLst>
            </p:cNvPr>
            <p:cNvSpPr/>
            <p:nvPr userDrawn="1"/>
          </p:nvSpPr>
          <p:spPr>
            <a:xfrm>
              <a:off x="10646592" y="5400846"/>
              <a:ext cx="213376" cy="230395"/>
            </a:xfrm>
            <a:custGeom>
              <a:avLst/>
              <a:gdLst>
                <a:gd name="connsiteX0" fmla="*/ 0 w 457390"/>
                <a:gd name="connsiteY0" fmla="*/ 310610 h 493871"/>
                <a:gd name="connsiteX1" fmla="*/ 131731 w 457390"/>
                <a:gd name="connsiteY1" fmla="*/ 310610 h 493871"/>
                <a:gd name="connsiteX2" fmla="*/ 235268 w 457390"/>
                <a:gd name="connsiteY2" fmla="*/ 378524 h 493871"/>
                <a:gd name="connsiteX3" fmla="*/ 326517 w 457390"/>
                <a:gd name="connsiteY3" fmla="*/ 313373 h 493871"/>
                <a:gd name="connsiteX4" fmla="*/ 232505 w 457390"/>
                <a:gd name="connsiteY4" fmla="*/ 250317 h 493871"/>
                <a:gd name="connsiteX5" fmla="*/ 138494 w 457390"/>
                <a:gd name="connsiteY5" fmla="*/ 290798 h 493871"/>
                <a:gd name="connsiteX6" fmla="*/ 6096 w 457390"/>
                <a:gd name="connsiteY6" fmla="*/ 221552 h 493871"/>
                <a:gd name="connsiteX7" fmla="*/ 54769 w 457390"/>
                <a:gd name="connsiteY7" fmla="*/ 0 h 493871"/>
                <a:gd name="connsiteX8" fmla="*/ 417576 w 457390"/>
                <a:gd name="connsiteY8" fmla="*/ 0 h 493871"/>
                <a:gd name="connsiteX9" fmla="*/ 417576 w 457390"/>
                <a:gd name="connsiteY9" fmla="*/ 115252 h 493871"/>
                <a:gd name="connsiteX10" fmla="*/ 163830 w 457390"/>
                <a:gd name="connsiteY10" fmla="*/ 115252 h 493871"/>
                <a:gd name="connsiteX11" fmla="*/ 133636 w 457390"/>
                <a:gd name="connsiteY11" fmla="*/ 232505 h 493871"/>
                <a:gd name="connsiteX12" fmla="*/ 290036 w 457390"/>
                <a:gd name="connsiteY12" fmla="*/ 142018 h 493871"/>
                <a:gd name="connsiteX13" fmla="*/ 457390 w 457390"/>
                <a:gd name="connsiteY13" fmla="*/ 305276 h 493871"/>
                <a:gd name="connsiteX14" fmla="*/ 233839 w 457390"/>
                <a:gd name="connsiteY14" fmla="*/ 493871 h 493871"/>
                <a:gd name="connsiteX15" fmla="*/ 0 w 457390"/>
                <a:gd name="connsiteY15" fmla="*/ 310706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390" h="493871">
                  <a:moveTo>
                    <a:pt x="0" y="310610"/>
                  </a:moveTo>
                  <a:lnTo>
                    <a:pt x="131731" y="310610"/>
                  </a:lnTo>
                  <a:cubicBezTo>
                    <a:pt x="131731" y="355187"/>
                    <a:pt x="167354" y="378524"/>
                    <a:pt x="235268" y="378524"/>
                  </a:cubicBezTo>
                  <a:cubicBezTo>
                    <a:pt x="303181" y="378524"/>
                    <a:pt x="326517" y="354521"/>
                    <a:pt x="326517" y="313373"/>
                  </a:cubicBezTo>
                  <a:cubicBezTo>
                    <a:pt x="326517" y="263271"/>
                    <a:pt x="281273" y="250317"/>
                    <a:pt x="232505" y="250317"/>
                  </a:cubicBezTo>
                  <a:cubicBezTo>
                    <a:pt x="188595" y="250317"/>
                    <a:pt x="157067" y="259271"/>
                    <a:pt x="138494" y="290798"/>
                  </a:cubicBezTo>
                  <a:lnTo>
                    <a:pt x="6096" y="221552"/>
                  </a:lnTo>
                  <a:lnTo>
                    <a:pt x="54769" y="0"/>
                  </a:lnTo>
                  <a:lnTo>
                    <a:pt x="417576" y="0"/>
                  </a:lnTo>
                  <a:lnTo>
                    <a:pt x="417576" y="115252"/>
                  </a:lnTo>
                  <a:lnTo>
                    <a:pt x="163830" y="115252"/>
                  </a:lnTo>
                  <a:lnTo>
                    <a:pt x="133636" y="232505"/>
                  </a:lnTo>
                  <a:cubicBezTo>
                    <a:pt x="161735" y="170117"/>
                    <a:pt x="217361" y="142018"/>
                    <a:pt x="290036" y="142018"/>
                  </a:cubicBezTo>
                  <a:cubicBezTo>
                    <a:pt x="382619" y="142018"/>
                    <a:pt x="457390" y="190024"/>
                    <a:pt x="457390" y="305276"/>
                  </a:cubicBezTo>
                  <a:cubicBezTo>
                    <a:pt x="457390" y="433578"/>
                    <a:pt x="369570" y="493871"/>
                    <a:pt x="233839" y="493871"/>
                  </a:cubicBezTo>
                  <a:cubicBezTo>
                    <a:pt x="111728" y="493871"/>
                    <a:pt x="0" y="446532"/>
                    <a:pt x="0" y="31070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B882D39B-7AB4-8B8A-382A-65D737DAB393}"/>
              </a:ext>
            </a:extLst>
          </p:cNvPr>
          <p:cNvSpPr txBox="1"/>
          <p:nvPr userDrawn="1"/>
        </p:nvSpPr>
        <p:spPr>
          <a:xfrm>
            <a:off x="1114697" y="6827520"/>
            <a:ext cx="133066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800" b="1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Reconocida con orgullo como beneficiaria de una beca de TC Energía 2026 por seguir estudiando e inspirar a otras personas de tu comunidad a hacer lo mismo. </a:t>
            </a:r>
            <a:endParaRPr lang="en-US" sz="2800" b="1" kern="1200" dirty="0">
              <a:solidFill>
                <a:schemeClr val="tx2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6722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E0F8991-3E1D-4E53-8F30-03487B84A9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57756168"/>
              </p:ext>
            </p:extLst>
          </p:nvPr>
        </p:nvGraphicFramePr>
        <p:xfrm>
          <a:off x="2025" y="2329"/>
          <a:ext cx="2025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E0F8991-3E1D-4E53-8F30-03487B84A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25" y="2329"/>
                        <a:ext cx="2025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96A059-84C8-F347-ADC9-B2B7410DD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705" y="998855"/>
            <a:ext cx="13407391" cy="836363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AD39C0-0A95-7B4F-BA1B-38A92EF416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705" y="2111270"/>
            <a:ext cx="13407391" cy="694827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BFA383-E0D6-D042-9BD7-2845100ADE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705" y="9322648"/>
            <a:ext cx="3497580" cy="53551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2267" b="1" cap="all" spc="680" baseline="0">
                <a:solidFill>
                  <a:srgbClr val="191919"/>
                </a:solidFill>
                <a:latin typeface="+mj-lt"/>
              </a:defRPr>
            </a:lvl1pPr>
          </a:lstStyle>
          <a:p>
            <a:fld id="{084B539E-C0E5-4FEB-BAA8-35E3F6BECA31}" type="datetime4">
              <a:rPr lang="en-US" smtClean="0"/>
              <a:t>June 25, 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79DABE-6A72-6644-8197-078037C94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8706" y="331788"/>
            <a:ext cx="13407389" cy="53551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2267" b="1" cap="all" spc="680" baseline="0">
                <a:solidFill>
                  <a:srgbClr val="191919"/>
                </a:solidFill>
                <a:latin typeface="+mj-lt"/>
              </a:defRPr>
            </a:lvl1pPr>
          </a:lstStyle>
          <a:p>
            <a:r>
              <a:rPr lang="en-US"/>
              <a:t>Lorem ipsum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8065D-DCFE-854A-9A4F-12592607E1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776447" y="9335601"/>
            <a:ext cx="661974" cy="53551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2267" b="1">
                <a:solidFill>
                  <a:srgbClr val="191919"/>
                </a:solidFill>
                <a:latin typeface="+mj-lt"/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547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</p:sldLayoutIdLst>
  <p:hf sldNum="0" hdr="0"/>
  <p:txStyles>
    <p:titleStyle>
      <a:lvl1pPr algn="l" defTabSz="2072625" rtl="0" eaLnBrk="1" latinLnBrk="0" hangingPunct="1">
        <a:lnSpc>
          <a:spcPct val="90000"/>
        </a:lnSpc>
        <a:spcBef>
          <a:spcPct val="0"/>
        </a:spcBef>
        <a:buNone/>
        <a:defRPr sz="9067" kern="1200">
          <a:solidFill>
            <a:srgbClr val="0D64EF"/>
          </a:solidFill>
          <a:latin typeface="+mn-lt"/>
          <a:ea typeface="+mj-ea"/>
          <a:cs typeface="+mj-cs"/>
        </a:defRPr>
      </a:lvl1pPr>
    </p:titleStyle>
    <p:bodyStyle>
      <a:lvl1pPr marL="414525" indent="-414525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</a:buBlip>
        <a:defRPr sz="3627" kern="1200">
          <a:solidFill>
            <a:srgbClr val="191919"/>
          </a:solidFill>
          <a:latin typeface="+mj-lt"/>
          <a:ea typeface="+mn-ea"/>
          <a:cs typeface="+mn-cs"/>
        </a:defRPr>
      </a:lvl1pPr>
      <a:lvl2pPr marL="1554469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</a:buBlip>
        <a:defRPr sz="3627" kern="1200">
          <a:solidFill>
            <a:srgbClr val="191919"/>
          </a:solidFill>
          <a:latin typeface="+mj-lt"/>
          <a:ea typeface="+mn-ea"/>
          <a:cs typeface="+mn-cs"/>
        </a:defRPr>
      </a:lvl2pPr>
      <a:lvl3pPr marL="2590781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3pPr>
      <a:lvl4pPr marL="3627093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4pPr>
      <a:lvl5pPr marL="4663406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5pPr>
      <a:lvl6pPr marL="5699718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6pPr>
      <a:lvl7pPr marL="6736030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7pPr>
      <a:lvl8pPr marL="7772343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8pPr>
      <a:lvl9pPr marL="8808655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1pPr>
      <a:lvl2pPr marL="1036312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2pPr>
      <a:lvl3pPr marL="2072625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3pPr>
      <a:lvl4pPr marL="3108937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4pPr>
      <a:lvl5pPr marL="4145250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5pPr>
      <a:lvl6pPr marL="5181562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6pPr>
      <a:lvl7pPr marL="6217874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7pPr>
      <a:lvl8pPr marL="7254187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8pPr>
      <a:lvl9pPr marL="8290499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F51700-133E-4DA4-A9BA-8C03001D13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618989"/>
              </p:ext>
            </p:extLst>
          </p:nvPr>
        </p:nvGraphicFramePr>
        <p:xfrm>
          <a:off x="-6041600" y="-2739600"/>
          <a:ext cx="3599" cy="3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51700-133E-4DA4-A9BA-8C03001D1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6041600" y="-2739600"/>
                        <a:ext cx="3599" cy="3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1A474B-5BD8-C857-D78F-5F7D802FF7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945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F48896F-709B-5799-3A83-F1C82D04B0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7D981F3-CBD8-578C-B80D-D211FA7166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6041600" y="-2739600"/>
          <a:ext cx="3599" cy="3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51700-133E-4DA4-A9BA-8C03001D1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6041600" y="-2739600"/>
                        <a:ext cx="3599" cy="3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618ED5-D61A-5EC4-645A-E7F9C5F6E3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84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CE - 2023 Refresh">
      <a:dk1>
        <a:srgbClr val="0D64EF"/>
      </a:dk1>
      <a:lt1>
        <a:srgbClr val="FFFFFF"/>
      </a:lt1>
      <a:dk2>
        <a:srgbClr val="191919"/>
      </a:dk2>
      <a:lt2>
        <a:srgbClr val="E7E6E6"/>
      </a:lt2>
      <a:accent1>
        <a:srgbClr val="0D64EF"/>
      </a:accent1>
      <a:accent2>
        <a:srgbClr val="3FCFD5"/>
      </a:accent2>
      <a:accent3>
        <a:srgbClr val="002366"/>
      </a:accent3>
      <a:accent4>
        <a:srgbClr val="89CFF0"/>
      </a:accent4>
      <a:accent5>
        <a:srgbClr val="C1F50E"/>
      </a:accent5>
      <a:accent6>
        <a:srgbClr val="20799E"/>
      </a:accent6>
      <a:hlink>
        <a:srgbClr val="80E271"/>
      </a:hlink>
      <a:folHlink>
        <a:srgbClr val="2699E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CE Presentation Toolkit v4.2 EN.pptx" id="{2F3FABDE-14CB-4FF2-9A4A-9A258A957D62}" vid="{289B124B-628E-4FB8-8F5E-37985A37331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A78143-9D98-4D52-B192-9AAB396809B9}">
  <we:reference id="e5263ec5-2e80-4a1e-9853-8d99118877c8" version="1.0.0.0" store="EXCatalog" storeType="EXCatalog"/>
  <we:alternateReferences/>
  <we:properties>
    <we:property name="MfxPersistedWebPartData" value="&quot;{\&quot;id\&quot;:\&quot;9618ab77-5f01-4bc1-9215-a074d87e0316\&quot;,\&quot;instanceId\&quot;:\&quot;0fb96a43-4e79-4be8-801e-60f2bd1854bb\&quot;,\&quot;title\&quot;:\&quot;PowerPoint addin (GO)\&quot;,\&quot;description\&quot;:\&quot;An intranet addin for PowerPoint.\&quot;,\&quot;audiences\&quot;:[],\&quot;serverProcessedContent\&quot;:{\&quot;htmlStrings\&quot;:{},\&quot;searchablePlainTexts\&quot;:{},\&quot;imageSources\&quot;:{},\&quot;links\&quot;:{}},\&quot;dataVersion\&quot;:\&quot;1.0\&quot;,\&quot;properties\&quot;:{\&quot;webPartTitle\&quot;:\&quot;\&quot;,\&quot;changedProperties\&quot;:[]},\&quot;containsDynamicDataSource\&quot;:false}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CF833F9DF84142A7EB23D28FCA4F60" ma:contentTypeVersion="13" ma:contentTypeDescription="Create a new document." ma:contentTypeScope="" ma:versionID="e48b3e7b8f34bf1f12ec6dc05b542a11">
  <xsd:schema xmlns:xsd="http://www.w3.org/2001/XMLSchema" xmlns:xs="http://www.w3.org/2001/XMLSchema" xmlns:p="http://schemas.microsoft.com/office/2006/metadata/properties" xmlns:ns2="b92c2624-9a52-45a9-a803-b3a7f79e404b" xmlns:ns3="63a3d63c-3188-4f64-b2eb-5fdd8d99ed82" targetNamespace="http://schemas.microsoft.com/office/2006/metadata/properties" ma:root="true" ma:fieldsID="949c134264d6ce6264d6a2c5b6b5499a" ns2:_="" ns3:_="">
    <xsd:import namespace="b92c2624-9a52-45a9-a803-b3a7f79e404b"/>
    <xsd:import namespace="63a3d63c-3188-4f64-b2eb-5fdd8d99ed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2c2624-9a52-45a9-a803-b3a7f79e404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f32e807-ea1f-4701-a6e0-24972aca76e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a3d63c-3188-4f64-b2eb-5fdd8d99ed82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ef314c25-9048-4cf0-a14f-f4d9a84095c7}" ma:internalName="TaxCatchAll" ma:showField="CatchAllData" ma:web="63a3d63c-3188-4f64-b2eb-5fdd8d99ed8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92c2624-9a52-45a9-a803-b3a7f79e404b">
      <Terms xmlns="http://schemas.microsoft.com/office/infopath/2007/PartnerControls"/>
    </lcf76f155ced4ddcb4097134ff3c332f>
    <TaxCatchAll xmlns="63a3d63c-3188-4f64-b2eb-5fdd8d99ed82" xsi:nil="true"/>
  </documentManagement>
</p:properties>
</file>

<file path=customXml/itemProps1.xml><?xml version="1.0" encoding="utf-8"?>
<ds:datastoreItem xmlns:ds="http://schemas.openxmlformats.org/officeDocument/2006/customXml" ds:itemID="{B3F374E6-2F46-4835-990C-15D73A0DFEA3}"/>
</file>

<file path=customXml/itemProps2.xml><?xml version="1.0" encoding="utf-8"?>
<ds:datastoreItem xmlns:ds="http://schemas.openxmlformats.org/officeDocument/2006/customXml" ds:itemID="{7C44361A-9DD3-4815-A889-74CA934711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EFC1B35-51D3-4FDA-9119-4285277BF920}">
  <ds:schemaRefs>
    <ds:schemaRef ds:uri="0be2b4af-3aa2-4f68-922f-84e310d8c846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1f7b7158-da0a-41d9-b5a4-951805a81842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b0cee36c-225c-4f48-b60b-921f444b5698}" enabled="0" method="" siteId="{b0cee36c-225c-4f48-b60b-921f444b569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CE Presentation Toolkit v4.2 EN</Template>
  <TotalTime>8848</TotalTime>
  <Words>242</Words>
  <Application>Microsoft Office PowerPoint</Application>
  <PresentationFormat>Custom</PresentationFormat>
  <Paragraphs>18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ain Dupuis</dc:creator>
  <cp:lastModifiedBy>Alain Dupuis</cp:lastModifiedBy>
  <cp:revision>100</cp:revision>
  <dcterms:created xsi:type="dcterms:W3CDTF">2026-05-20T21:46:16Z</dcterms:created>
  <dcterms:modified xsi:type="dcterms:W3CDTF">2026-06-25T21:4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CF833F9DF84142A7EB23D28FCA4F60</vt:lpwstr>
  </property>
  <property fmtid="{D5CDD505-2E9C-101B-9397-08002B2CF9AE}" pid="3" name="MediaServiceImageTags">
    <vt:lpwstr/>
  </property>
</Properties>
</file>